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9"/>
  </p:notesMasterIdLst>
  <p:handoutMasterIdLst>
    <p:handoutMasterId r:id="rId10"/>
  </p:handoutMasterIdLst>
  <p:sldIdLst>
    <p:sldId id="696" r:id="rId2"/>
    <p:sldId id="707" r:id="rId3"/>
    <p:sldId id="703" r:id="rId4"/>
    <p:sldId id="698" r:id="rId5"/>
    <p:sldId id="699" r:id="rId6"/>
    <p:sldId id="700" r:id="rId7"/>
    <p:sldId id="701" r:id="rId8"/>
  </p:sldIdLst>
  <p:sldSz cx="9602788" cy="6858000"/>
  <p:notesSz cx="7010400" cy="9296400"/>
  <p:custDataLst>
    <p:tags r:id="rId11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F6E6"/>
    <a:srgbClr val="FFFFCC"/>
    <a:srgbClr val="FFCCCC"/>
    <a:srgbClr val="FCE0E2"/>
    <a:srgbClr val="FFDDDD"/>
    <a:srgbClr val="008AB3"/>
    <a:srgbClr val="D7E4BD"/>
    <a:srgbClr val="FF0000"/>
    <a:srgbClr val="BFBFBF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100" d="100"/>
          <a:sy n="100" d="100"/>
        </p:scale>
        <p:origin x="-858" y="792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5213" y="696913"/>
            <a:ext cx="4883150" cy="34877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410" y="4415157"/>
            <a:ext cx="5609587" cy="4183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9949" lvl="0" indent="-229949" eaLnBrk="1" hangingPunct="1">
              <a:spcBef>
                <a:spcPct val="60000"/>
              </a:spcBef>
              <a:spcAft>
                <a:spcPts val="604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9846" lvl="2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9795" lvl="3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9744" lvl="4" indent="-229949" eaLnBrk="1" hangingPunct="1">
              <a:spcBef>
                <a:spcPts val="0"/>
              </a:spcBef>
              <a:spcAft>
                <a:spcPts val="604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9692" lvl="5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9641" lvl="6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39590" lvl="7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69539" lvl="8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617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5635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s-E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070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5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  <p:sldLayoutId id="2147483784" r:id="rId8"/>
    <p:sldLayoutId id="2147483785" r:id="rId9"/>
    <p:sldLayoutId id="2147483786" r:id="rId10"/>
    <p:sldLayoutId id="2147483787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55937" y="2963670"/>
            <a:ext cx="8550815" cy="350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SHUSA </a:t>
            </a:r>
            <a:r>
              <a:rPr lang="en-US" sz="2400" b="1" dirty="0" smtClean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COMMITTEE / BOARD</a:t>
            </a:r>
            <a:endParaRPr lang="en-US" sz="2400" b="1" dirty="0">
              <a:solidFill>
                <a:srgbClr val="FF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8" name="5 CuadroTexto"/>
          <p:cNvSpPr txBox="1"/>
          <p:nvPr/>
        </p:nvSpPr>
        <p:spPr>
          <a:xfrm>
            <a:off x="251570" y="5974930"/>
            <a:ext cx="5327193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0" hangingPunct="0">
              <a:defRPr/>
            </a:pP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Draft</a:t>
            </a:r>
            <a:endParaRPr lang="en-US" sz="14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9" name="5 CuadroTexto"/>
          <p:cNvSpPr txBox="1"/>
          <p:nvPr/>
        </p:nvSpPr>
        <p:spPr>
          <a:xfrm>
            <a:off x="3451568" y="174076"/>
            <a:ext cx="5887979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For </a:t>
            </a:r>
            <a:r>
              <a:rPr lang="en-US" sz="1400" b="1" dirty="0" smtClean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Review</a:t>
            </a:r>
            <a:endParaRPr lang="en-US" sz="1400" b="1" dirty="0">
              <a:solidFill>
                <a:srgbClr val="00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8435" y="4349163"/>
            <a:ext cx="8550815" cy="664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20000"/>
              </a:lnSpc>
              <a:spcBef>
                <a:spcPct val="0"/>
              </a:spcBef>
            </a:pPr>
            <a:r>
              <a:rPr lang="en-US" sz="18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SHUSA Risk Appetite</a:t>
            </a:r>
            <a:endParaRPr lang="en-US" sz="18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  <a:p>
            <a:pPr eaLnBrk="0" hangingPunct="0">
              <a:lnSpc>
                <a:spcPct val="120000"/>
              </a:lnSpc>
              <a:spcBef>
                <a:spcPct val="0"/>
              </a:spcBef>
            </a:pPr>
            <a:endParaRPr lang="en-US" sz="1800" i="1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55937" y="3313765"/>
            <a:ext cx="8550815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b="1" dirty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HUSA Risk Appetite 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tatement– June Report</a:t>
            </a:r>
          </a:p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June 2016</a:t>
            </a:r>
            <a:endParaRPr lang="en-US" sz="1800" dirty="0">
              <a:solidFill>
                <a:prstClr val="black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05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66744" y="248489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eaLnBrk="0" hangingPunct="0">
              <a:defRPr sz="2000" b="1">
                <a:solidFill>
                  <a:prstClr val="black"/>
                </a:solidFill>
                <a:ea typeface="MS PGothic" pitchFamily="34" charset="-128"/>
              </a:defRPr>
            </a:lvl1pPr>
          </a:lstStyle>
          <a:p>
            <a:r>
              <a:rPr lang="en-US" dirty="0"/>
              <a:t>2. Risk Appetite Statement Dashboard</a:t>
            </a:r>
          </a:p>
        </p:txBody>
      </p:sp>
      <p:grpSp>
        <p:nvGrpSpPr>
          <p:cNvPr id="154" name="Group 153"/>
          <p:cNvGrpSpPr/>
          <p:nvPr/>
        </p:nvGrpSpPr>
        <p:grpSpPr>
          <a:xfrm>
            <a:off x="365785" y="6636117"/>
            <a:ext cx="2720794" cy="105863"/>
            <a:chOff x="1201643" y="6031365"/>
            <a:chExt cx="3491000" cy="140904"/>
          </a:xfrm>
        </p:grpSpPr>
        <p:sp>
          <p:nvSpPr>
            <p:cNvPr id="155" name="80 CuadroTexto"/>
            <p:cNvSpPr txBox="1"/>
            <p:nvPr/>
          </p:nvSpPr>
          <p:spPr bwMode="gray">
            <a:xfrm>
              <a:off x="1358881" y="6031365"/>
              <a:ext cx="1138487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Focus of concern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6" name="80 CuadroTexto"/>
            <p:cNvSpPr txBox="1"/>
            <p:nvPr/>
          </p:nvSpPr>
          <p:spPr bwMode="gray">
            <a:xfrm>
              <a:off x="2533608" y="6031365"/>
              <a:ext cx="993775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Area of attention 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7" name="80 CuadroTexto"/>
            <p:cNvSpPr txBox="1"/>
            <p:nvPr/>
          </p:nvSpPr>
          <p:spPr bwMode="gray">
            <a:xfrm>
              <a:off x="3785070" y="6031365"/>
              <a:ext cx="907573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>
                  <a:solidFill>
                    <a:srgbClr val="515151"/>
                  </a:solidFill>
                  <a:ea typeface="MS PGothic" pitchFamily="34" charset="-128"/>
                </a:rPr>
                <a:t>Not a concern</a:t>
              </a:r>
            </a:p>
          </p:txBody>
        </p:sp>
        <p:sp>
          <p:nvSpPr>
            <p:cNvPr id="158" name="116 Elipse"/>
            <p:cNvSpPr/>
            <p:nvPr/>
          </p:nvSpPr>
          <p:spPr bwMode="gray">
            <a:xfrm>
              <a:off x="3622233" y="6037858"/>
              <a:ext cx="120077" cy="120078"/>
            </a:xfrm>
            <a:prstGeom prst="ellipse">
              <a:avLst/>
            </a:prstGeom>
            <a:solidFill>
              <a:srgbClr val="6699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9" name="117 Elipse"/>
            <p:cNvSpPr/>
            <p:nvPr/>
          </p:nvSpPr>
          <p:spPr bwMode="gray">
            <a:xfrm>
              <a:off x="2381418" y="6037858"/>
              <a:ext cx="120077" cy="120078"/>
            </a:xfrm>
            <a:prstGeom prst="ellipse">
              <a:avLst/>
            </a:prstGeom>
            <a:solidFill>
              <a:srgbClr val="FFCC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0" name="119 Elipse"/>
            <p:cNvSpPr/>
            <p:nvPr/>
          </p:nvSpPr>
          <p:spPr bwMode="gray">
            <a:xfrm>
              <a:off x="1201643" y="6037857"/>
              <a:ext cx="120078" cy="120078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3150510" y="5357742"/>
            <a:ext cx="6330762" cy="198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457200" fontAlgn="t">
              <a:defRPr/>
            </a:pPr>
            <a:r>
              <a:rPr lang="en-US" sz="800" dirty="0">
                <a:solidFill>
                  <a:srgbClr val="9D9D9C"/>
                </a:solidFill>
                <a:ea typeface="MS PGothic" pitchFamily="34" charset="-128"/>
                <a:cs typeface="Arial" panose="020B0604020202020204" pitchFamily="34" charset="0"/>
              </a:rPr>
              <a:t>Aggregated RAS status for the purpose of this summary is based on expert judgment and reviewed by ERMC prior to RC and Board. 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79913"/>
              </p:ext>
            </p:extLst>
          </p:nvPr>
        </p:nvGraphicFramePr>
        <p:xfrm>
          <a:off x="365786" y="718658"/>
          <a:ext cx="8863940" cy="4634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6394"/>
                <a:gridCol w="7977546"/>
              </a:tblGrid>
              <a:tr h="1537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 Metrics Summary, Assessment &amp; Key Actions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68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egic</a:t>
                      </a:r>
                      <a:endParaRPr lang="en-US" sz="9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 </a:t>
                      </a:r>
                      <a:endParaRPr lang="en-US" sz="900" u="none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0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quacy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 Rating Exposure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ced to 6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ove </a:t>
                      </a:r>
                      <a:r>
                        <a:rPr lang="en-US" sz="9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imit by 6.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ily the result of an OCC directive to risk rate CRE Construction transactions as low pass, causing otherwise strong One Obligor relationships to not reach the 5.0 risk rating hurdle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ch escalated. Action plans 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ate as of 6/16)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 in development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Meeting with business lines to discuss is scheduled on 8/9.</a:t>
                      </a:r>
                      <a:endParaRPr lang="en-US" sz="9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Multifamily Exposure</a:t>
                      </a:r>
                      <a:r>
                        <a:rPr lang="en-US" sz="9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reaches $10.7B above </a:t>
                      </a:r>
                      <a:r>
                        <a:rPr lang="en-US" sz="900" b="1" i="0" u="none" strike="noStrike" kern="120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limit by 0.1B due to a net increase in Commercial Real Estate ($78MM) and SREC ($11MM) segments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ch escalated. Action plans 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ate as of 6/16)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 in development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Meeting with business lines to discuss is scheduled on 8/9.</a:t>
                      </a:r>
                      <a:endParaRPr lang="en-US" sz="9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 Funding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 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sng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 is within appetite. 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wever, due 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 repeated late delivery of first line model documentation from the Fair Lending team, the overall status is set to </a:t>
                      </a:r>
                      <a:r>
                        <a:rPr lang="en-US" sz="900" b="1" i="0" u="none" strike="noStrike" kern="1200" baseline="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until this is resolved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re is potential late delivery of first line documentation from Madrid for market risk models but MRMG has a contingency plan is in place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23 MR(I)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June 31;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T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s addressing MR(I)As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169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89511"/>
              </p:ext>
            </p:extLst>
          </p:nvPr>
        </p:nvGraphicFramePr>
        <p:xfrm>
          <a:off x="352425" y="486643"/>
          <a:ext cx="8905874" cy="2514600"/>
        </p:xfrm>
        <a:graphic>
          <a:graphicData uri="http://schemas.openxmlformats.org/drawingml/2006/table">
            <a:tbl>
              <a:tblPr firstRow="1" bandRow="1"/>
              <a:tblGrid>
                <a:gridCol w="742950"/>
                <a:gridCol w="837808"/>
                <a:gridCol w="1272920"/>
                <a:gridCol w="869228"/>
                <a:gridCol w="869228"/>
                <a:gridCol w="770441"/>
                <a:gridCol w="613551"/>
                <a:gridCol w="632979"/>
                <a:gridCol w="2296769"/>
              </a:tblGrid>
              <a:tr h="147299">
                <a:tc gridSpan="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limit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on Plan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  <a:endParaRPr lang="en-US" sz="9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48014" marR="48014">
                    <a:lnL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RT plans addressing</a:t>
                      </a: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MR(I)As</a:t>
                      </a:r>
                      <a:endParaRPr lang="en-US" sz="9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4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9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9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 with business lines to discuss is scheduled on 8/9.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824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kern="1200" baseline="30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  <a:r>
                        <a:rPr lang="en-US" sz="9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7B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 with business lines to discuss is scheduled on 8/9.</a:t>
                      </a: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66744" y="248488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2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. Risk Appetite </a:t>
            </a: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Statement 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– Amber and Red metrics</a:t>
            </a:r>
            <a:endParaRPr lang="en-US" sz="20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0" name="Footnote"/>
          <p:cNvSpPr/>
          <p:nvPr/>
        </p:nvSpPr>
        <p:spPr bwMode="auto">
          <a:xfrm>
            <a:off x="1979523" y="6566315"/>
            <a:ext cx="8903637" cy="27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1" algn="l"/>
            <a:endParaRPr lang="en-US" sz="70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#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of counterparties with </a:t>
            </a:r>
            <a:r>
              <a:rPr lang="en-US" sz="7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700" dirty="0" smtClean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  <a:endParaRPr lang="en-US" sz="700" dirty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0603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173659"/>
              </p:ext>
            </p:extLst>
          </p:nvPr>
        </p:nvGraphicFramePr>
        <p:xfrm>
          <a:off x="349319" y="660285"/>
          <a:ext cx="8905310" cy="2359152"/>
        </p:xfrm>
        <a:graphic>
          <a:graphicData uri="http://schemas.openxmlformats.org/drawingml/2006/table">
            <a:tbl>
              <a:tblPr firstRow="1" bandRow="1"/>
              <a:tblGrid>
                <a:gridCol w="718022"/>
                <a:gridCol w="1628234"/>
                <a:gridCol w="723900"/>
                <a:gridCol w="647700"/>
                <a:gridCol w="571500"/>
                <a:gridCol w="600075"/>
                <a:gridCol w="590550"/>
                <a:gridCol w="742950"/>
                <a:gridCol w="695325"/>
                <a:gridCol w="523875"/>
                <a:gridCol w="714375"/>
                <a:gridCol w="748804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line scenario</a:t>
                      </a: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 Stress scenario</a:t>
                      </a:r>
                    </a:p>
                  </a:txBody>
                  <a:tcPr marL="36576" marR="36576" marT="36576" marB="3657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tress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438912">
                <a:tc row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tios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Common Equity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1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07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41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5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Risk-based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6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55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16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3.5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37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0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5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8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5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4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03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3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 1 Risk-based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7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65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4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9" name="Footnote"/>
          <p:cNvSpPr/>
          <p:nvPr/>
        </p:nvSpPr>
        <p:spPr>
          <a:xfrm>
            <a:off x="2228518" y="6332539"/>
            <a:ext cx="5000958" cy="430887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rrespond to “Worst Quarter” complementary metrics in Group RAS</a:t>
            </a: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2015</a:t>
            </a: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7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72254" y="60178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1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86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496548"/>
              </p:ext>
            </p:extLst>
          </p:nvPr>
        </p:nvGraphicFramePr>
        <p:xfrm>
          <a:off x="348436" y="704215"/>
          <a:ext cx="8906195" cy="5384927"/>
        </p:xfrm>
        <a:graphic>
          <a:graphicData uri="http://schemas.openxmlformats.org/drawingml/2006/table">
            <a:tbl>
              <a:tblPr firstRow="1" bandRow="1"/>
              <a:tblGrid>
                <a:gridCol w="995871"/>
                <a:gridCol w="2441801"/>
                <a:gridCol w="807780"/>
                <a:gridCol w="708685"/>
                <a:gridCol w="860102"/>
                <a:gridCol w="816546"/>
                <a:gridCol w="838324"/>
                <a:gridCol w="718543"/>
                <a:gridCol w="718543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46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C Tota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 RWA</a:t>
                      </a:r>
                      <a:endParaRPr lang="en-US" sz="1000" b="0" i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1B 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0B 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- $2BN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39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 of CET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41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74193">
                <a:tc rowSpan="6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m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1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8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0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6441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4%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1.4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1.4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/61+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PD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Retail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7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7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4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1%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3%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4.3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7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rowSpan="1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ncentration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 (Corporates &amp; FIs)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50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6 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07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5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Obligo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Industry Exposure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ver   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&amp;</a:t>
                      </a:r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surance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1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5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6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9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ultifamily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lic Sector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6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3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43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46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 Assets</a:t>
                      </a:r>
                      <a:r>
                        <a:rPr lang="en-US" sz="100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29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30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Subprime Asse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372254" y="61321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2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otnote"/>
          <p:cNvSpPr/>
          <p:nvPr/>
        </p:nvSpPr>
        <p:spPr>
          <a:xfrm>
            <a:off x="2228517" y="6208714"/>
            <a:ext cx="5305757" cy="648575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Abbreviation for Personal Lending – Lending Club (sold on Feb 1</a:t>
            </a:r>
            <a:r>
              <a:rPr lang="en-US" sz="700" baseline="30000" dirty="0">
                <a:latin typeface="Arial"/>
                <a:ea typeface="ＭＳ Ｐゴシック"/>
                <a:sym typeface="Arial"/>
              </a:rPr>
              <a:t>s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), Bluestem &amp; NCL (Held for Sale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# of counterparties with </a:t>
            </a:r>
            <a:r>
              <a:rPr lang="en-US" sz="7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ea typeface="ＭＳ Ｐゴシック"/>
              </a:rPr>
              <a:t>Subprime is defined as FICO &lt; 630 or no FICO score available (excluding Commercial Fleet s</a:t>
            </a:r>
            <a:r>
              <a:rPr lang="en-US" sz="700" dirty="0" smtClean="0">
                <a:ea typeface="ＭＳ Ｐゴシック"/>
              </a:rPr>
              <a:t>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Start to report from June 2016</a:t>
            </a:r>
            <a:endParaRPr lang="en-US" sz="700" dirty="0" smtClean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4829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617514"/>
              </p:ext>
            </p:extLst>
          </p:nvPr>
        </p:nvGraphicFramePr>
        <p:xfrm>
          <a:off x="348436" y="704215"/>
          <a:ext cx="8906195" cy="4957440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24929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valu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isk / CRLIT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8%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3%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32%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5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funding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ess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ays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,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 days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ays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 – EUR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1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4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6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Coverage Ratio Modified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U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6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uctural Funding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io (%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360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Horizon - 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esale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arent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ly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2 Months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 Month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6 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onths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Asset Encumbrance (%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NII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.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7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3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4.5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5.5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VE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.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92)MM</a:t>
                      </a: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20)MM</a:t>
                      </a: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6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7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 (</a:t>
                      </a:r>
                      <a:r>
                        <a:rPr lang="en-US" sz="1000" b="0" i="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8M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1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9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17673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/o Appropriate Approval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: 59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BN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Other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otal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69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HUS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18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– 35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100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– 3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0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– 26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51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6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48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2016 – 11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Q2016 – 103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2016 – 4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Reputational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3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ootnote"/>
          <p:cNvSpPr/>
          <p:nvPr/>
        </p:nvSpPr>
        <p:spPr>
          <a:xfrm>
            <a:off x="2247567" y="6146257"/>
            <a:ext cx="5305757" cy="1032399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/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Portfolio 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Metric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is on a 2-month lag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CRLIT Contract Residual less Incentives and Tax; NII: Net Interest Income; MVE: Market Value of Equity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</a:rPr>
              <a:t>Updated limit from 2015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Metric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is not available due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to SC system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error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/>
              <a:t>IHC exposures will be paired to the SHUSA IHC limits with July end </a:t>
            </a:r>
            <a:r>
              <a:rPr lang="en-US" sz="700" dirty="0" smtClean="0"/>
              <a:t>figures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Start to report from June 2016</a:t>
            </a:r>
            <a:endParaRPr lang="en-US" sz="700" dirty="0"/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72254" y="6074960"/>
            <a:ext cx="2327430" cy="125740"/>
            <a:chOff x="372254" y="5975278"/>
            <a:chExt cx="2327430" cy="125740"/>
          </a:xfrm>
        </p:grpSpPr>
        <p:sp>
          <p:nvSpPr>
            <p:cNvPr id="21" name="TextBox 20"/>
            <p:cNvSpPr txBox="1"/>
            <p:nvPr/>
          </p:nvSpPr>
          <p:spPr>
            <a:xfrm>
              <a:off x="84020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44087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372254" y="6017810"/>
            <a:ext cx="593022" cy="119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b="1" dirty="0" smtClean="0"/>
              <a:t>Legend</a:t>
            </a:r>
            <a:endParaRPr lang="en-GB" sz="9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Quarterly / Annual Metrics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619685"/>
              </p:ext>
            </p:extLst>
          </p:nvPr>
        </p:nvGraphicFramePr>
        <p:xfrm>
          <a:off x="348436" y="2104390"/>
          <a:ext cx="8894248" cy="755904"/>
        </p:xfrm>
        <a:graphic>
          <a:graphicData uri="http://schemas.openxmlformats.org/drawingml/2006/table">
            <a:tbl>
              <a:tblPr firstRow="1" bandRow="1"/>
              <a:tblGrid>
                <a:gridCol w="1225183"/>
                <a:gridCol w="3147237"/>
                <a:gridCol w="850604"/>
                <a:gridCol w="871870"/>
                <a:gridCol w="1031358"/>
                <a:gridCol w="883998"/>
                <a:gridCol w="883998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135420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 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,913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639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861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oss in Stress</a:t>
                      </a:r>
                      <a:r>
                        <a:rPr lang="en-US" sz="1000" b="1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redit Losses </a:t>
                      </a: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,052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2,6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3,1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1" name="Footnote"/>
          <p:cNvSpPr/>
          <p:nvPr/>
        </p:nvSpPr>
        <p:spPr>
          <a:xfrm>
            <a:off x="2228517" y="6208714"/>
            <a:ext cx="5305757" cy="277961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level granularity available in Entity RAS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  <a:endParaRPr lang="en-US" sz="700" dirty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72254" y="6017810"/>
            <a:ext cx="2316000" cy="125740"/>
            <a:chOff x="372254" y="5975278"/>
            <a:chExt cx="2316000" cy="125740"/>
          </a:xfrm>
        </p:grpSpPr>
        <p:sp>
          <p:nvSpPr>
            <p:cNvPr id="13" name="TextBox 12"/>
            <p:cNvSpPr txBox="1"/>
            <p:nvPr/>
          </p:nvSpPr>
          <p:spPr>
            <a:xfrm>
              <a:off x="82877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928956"/>
              </p:ext>
            </p:extLst>
          </p:nvPr>
        </p:nvGraphicFramePr>
        <p:xfrm>
          <a:off x="348436" y="704215"/>
          <a:ext cx="8906195" cy="1129792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5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397687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Gross Operation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Margin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2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.96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60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144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7931</TotalTime>
  <Words>1612</Words>
  <Application>Microsoft Office PowerPoint</Application>
  <PresentationFormat>Custom</PresentationFormat>
  <Paragraphs>522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Zhang, Zhiyi</cp:lastModifiedBy>
  <cp:revision>1486</cp:revision>
  <cp:lastPrinted>2016-08-03T15:31:32Z</cp:lastPrinted>
  <dcterms:created xsi:type="dcterms:W3CDTF">2016-03-28T17:49:32Z</dcterms:created>
  <dcterms:modified xsi:type="dcterms:W3CDTF">2016-08-04T21:0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